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8" r:id="rId4"/>
  </p:sldMasterIdLst>
  <p:notesMasterIdLst>
    <p:notesMasterId r:id="rId6"/>
  </p:notesMasterIdLst>
  <p:handoutMasterIdLst>
    <p:handoutMasterId r:id="rId7"/>
  </p:handoutMasterIdLst>
  <p:sldIdLst>
    <p:sldId id="407" r:id="rId5"/>
  </p:sldIdLst>
  <p:sldSz cx="12192000" cy="6858000"/>
  <p:notesSz cx="6858000" cy="9144000"/>
  <p:custDataLst>
    <p:tags r:id="rId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gemini Masters" id="{4E249A1C-D928-4AC0-A77C-65440B7A141B}">
          <p14:sldIdLst>
            <p14:sldId id="407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E616"/>
    <a:srgbClr val="FF7E83"/>
    <a:srgbClr val="0070AD"/>
    <a:srgbClr val="2B0A3D"/>
    <a:srgbClr val="00C37B"/>
    <a:srgbClr val="4701A7"/>
    <a:srgbClr val="FF6327"/>
    <a:srgbClr val="01D1D0"/>
    <a:srgbClr val="E6E7E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F1AB2-1976-4502-BF36-3FF5EA218861}" styleName="Style moyen 4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17" autoAdjust="0"/>
    <p:restoredTop sz="95291" autoAdjust="0"/>
  </p:normalViewPr>
  <p:slideViewPr>
    <p:cSldViewPr>
      <p:cViewPr varScale="1">
        <p:scale>
          <a:sx n="85" d="100"/>
          <a:sy n="85" d="100"/>
        </p:scale>
        <p:origin x="176" y="80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96"/>
    </p:cViewPr>
  </p:sorterViewPr>
  <p:notesViewPr>
    <p:cSldViewPr>
      <p:cViewPr varScale="1">
        <p:scale>
          <a:sx n="74" d="100"/>
          <a:sy n="74" d="100"/>
        </p:scale>
        <p:origin x="270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MEJ, MERIAME" userId="6f7297a7-5d38-4d45-a12d-d4ed9accad18" providerId="ADAL" clId="{8516B747-8DC0-4252-9C24-38AF33D9839C}"/>
    <pc:docChg chg="undo custSel addSld delSld modSld modSection">
      <pc:chgData name="DAMEJ, MERIAME" userId="6f7297a7-5d38-4d45-a12d-d4ed9accad18" providerId="ADAL" clId="{8516B747-8DC0-4252-9C24-38AF33D9839C}" dt="2024-05-22T09:11:56.511" v="123" actId="207"/>
      <pc:docMkLst>
        <pc:docMk/>
      </pc:docMkLst>
      <pc:sldChg chg="del">
        <pc:chgData name="DAMEJ, MERIAME" userId="6f7297a7-5d38-4d45-a12d-d4ed9accad18" providerId="ADAL" clId="{8516B747-8DC0-4252-9C24-38AF33D9839C}" dt="2024-05-22T09:11:23.864" v="75" actId="47"/>
        <pc:sldMkLst>
          <pc:docMk/>
          <pc:sldMk cId="3442085604" sldId="279"/>
        </pc:sldMkLst>
      </pc:sldChg>
      <pc:sldChg chg="del">
        <pc:chgData name="DAMEJ, MERIAME" userId="6f7297a7-5d38-4d45-a12d-d4ed9accad18" providerId="ADAL" clId="{8516B747-8DC0-4252-9C24-38AF33D9839C}" dt="2024-05-22T09:11:23.924" v="76" actId="47"/>
        <pc:sldMkLst>
          <pc:docMk/>
          <pc:sldMk cId="1388769496" sldId="280"/>
        </pc:sldMkLst>
      </pc:sldChg>
      <pc:sldChg chg="del">
        <pc:chgData name="DAMEJ, MERIAME" userId="6f7297a7-5d38-4d45-a12d-d4ed9accad18" providerId="ADAL" clId="{8516B747-8DC0-4252-9C24-38AF33D9839C}" dt="2024-05-22T09:11:23.984" v="77" actId="47"/>
        <pc:sldMkLst>
          <pc:docMk/>
          <pc:sldMk cId="3979108675" sldId="281"/>
        </pc:sldMkLst>
      </pc:sldChg>
      <pc:sldChg chg="del">
        <pc:chgData name="DAMEJ, MERIAME" userId="6f7297a7-5d38-4d45-a12d-d4ed9accad18" providerId="ADAL" clId="{8516B747-8DC0-4252-9C24-38AF33D9839C}" dt="2024-05-22T09:11:24.022" v="78" actId="47"/>
        <pc:sldMkLst>
          <pc:docMk/>
          <pc:sldMk cId="2201807279" sldId="282"/>
        </pc:sldMkLst>
      </pc:sldChg>
      <pc:sldChg chg="del">
        <pc:chgData name="DAMEJ, MERIAME" userId="6f7297a7-5d38-4d45-a12d-d4ed9accad18" providerId="ADAL" clId="{8516B747-8DC0-4252-9C24-38AF33D9839C}" dt="2024-05-22T09:11:24.189" v="80" actId="47"/>
        <pc:sldMkLst>
          <pc:docMk/>
          <pc:sldMk cId="1754468343" sldId="283"/>
        </pc:sldMkLst>
      </pc:sldChg>
      <pc:sldChg chg="del">
        <pc:chgData name="DAMEJ, MERIAME" userId="6f7297a7-5d38-4d45-a12d-d4ed9accad18" providerId="ADAL" clId="{8516B747-8DC0-4252-9C24-38AF33D9839C}" dt="2024-05-22T09:11:24.264" v="81" actId="47"/>
        <pc:sldMkLst>
          <pc:docMk/>
          <pc:sldMk cId="707846569" sldId="284"/>
        </pc:sldMkLst>
      </pc:sldChg>
      <pc:sldChg chg="del">
        <pc:chgData name="DAMEJ, MERIAME" userId="6f7297a7-5d38-4d45-a12d-d4ed9accad18" providerId="ADAL" clId="{8516B747-8DC0-4252-9C24-38AF33D9839C}" dt="2024-05-22T09:11:24.342" v="84" actId="47"/>
        <pc:sldMkLst>
          <pc:docMk/>
          <pc:sldMk cId="1577648951" sldId="285"/>
        </pc:sldMkLst>
      </pc:sldChg>
      <pc:sldChg chg="del">
        <pc:chgData name="DAMEJ, MERIAME" userId="6f7297a7-5d38-4d45-a12d-d4ed9accad18" providerId="ADAL" clId="{8516B747-8DC0-4252-9C24-38AF33D9839C}" dt="2024-05-22T09:11:24.379" v="85" actId="47"/>
        <pc:sldMkLst>
          <pc:docMk/>
          <pc:sldMk cId="1617382844" sldId="286"/>
        </pc:sldMkLst>
      </pc:sldChg>
      <pc:sldChg chg="del">
        <pc:chgData name="DAMEJ, MERIAME" userId="6f7297a7-5d38-4d45-a12d-d4ed9accad18" providerId="ADAL" clId="{8516B747-8DC0-4252-9C24-38AF33D9839C}" dt="2024-05-22T09:11:24.418" v="86" actId="47"/>
        <pc:sldMkLst>
          <pc:docMk/>
          <pc:sldMk cId="2921278523" sldId="287"/>
        </pc:sldMkLst>
      </pc:sldChg>
      <pc:sldChg chg="del">
        <pc:chgData name="DAMEJ, MERIAME" userId="6f7297a7-5d38-4d45-a12d-d4ed9accad18" providerId="ADAL" clId="{8516B747-8DC0-4252-9C24-38AF33D9839C}" dt="2024-05-22T09:11:24.474" v="88" actId="47"/>
        <pc:sldMkLst>
          <pc:docMk/>
          <pc:sldMk cId="1554646035" sldId="288"/>
        </pc:sldMkLst>
      </pc:sldChg>
      <pc:sldChg chg="del">
        <pc:chgData name="DAMEJ, MERIAME" userId="6f7297a7-5d38-4d45-a12d-d4ed9accad18" providerId="ADAL" clId="{8516B747-8DC0-4252-9C24-38AF33D9839C}" dt="2024-05-22T09:11:24.538" v="89" actId="47"/>
        <pc:sldMkLst>
          <pc:docMk/>
          <pc:sldMk cId="637989398" sldId="289"/>
        </pc:sldMkLst>
      </pc:sldChg>
      <pc:sldChg chg="del">
        <pc:chgData name="DAMEJ, MERIAME" userId="6f7297a7-5d38-4d45-a12d-d4ed9accad18" providerId="ADAL" clId="{8516B747-8DC0-4252-9C24-38AF33D9839C}" dt="2024-05-22T09:11:24.629" v="90" actId="47"/>
        <pc:sldMkLst>
          <pc:docMk/>
          <pc:sldMk cId="4147605703" sldId="290"/>
        </pc:sldMkLst>
      </pc:sldChg>
      <pc:sldChg chg="del">
        <pc:chgData name="DAMEJ, MERIAME" userId="6f7297a7-5d38-4d45-a12d-d4ed9accad18" providerId="ADAL" clId="{8516B747-8DC0-4252-9C24-38AF33D9839C}" dt="2024-05-22T09:11:25.888" v="92" actId="47"/>
        <pc:sldMkLst>
          <pc:docMk/>
          <pc:sldMk cId="2671364370" sldId="291"/>
        </pc:sldMkLst>
      </pc:sldChg>
      <pc:sldChg chg="del">
        <pc:chgData name="DAMEJ, MERIAME" userId="6f7297a7-5d38-4d45-a12d-d4ed9accad18" providerId="ADAL" clId="{8516B747-8DC0-4252-9C24-38AF33D9839C}" dt="2024-05-22T09:11:25.959" v="93" actId="47"/>
        <pc:sldMkLst>
          <pc:docMk/>
          <pc:sldMk cId="2083415659" sldId="293"/>
        </pc:sldMkLst>
      </pc:sldChg>
      <pc:sldChg chg="del">
        <pc:chgData name="DAMEJ, MERIAME" userId="6f7297a7-5d38-4d45-a12d-d4ed9accad18" providerId="ADAL" clId="{8516B747-8DC0-4252-9C24-38AF33D9839C}" dt="2024-05-22T09:11:25.993" v="94" actId="47"/>
        <pc:sldMkLst>
          <pc:docMk/>
          <pc:sldMk cId="3201256365" sldId="294"/>
        </pc:sldMkLst>
      </pc:sldChg>
      <pc:sldChg chg="del">
        <pc:chgData name="DAMEJ, MERIAME" userId="6f7297a7-5d38-4d45-a12d-d4ed9accad18" providerId="ADAL" clId="{8516B747-8DC0-4252-9C24-38AF33D9839C}" dt="2024-05-22T09:11:26.031" v="95" actId="47"/>
        <pc:sldMkLst>
          <pc:docMk/>
          <pc:sldMk cId="1287459445" sldId="295"/>
        </pc:sldMkLst>
      </pc:sldChg>
      <pc:sldChg chg="del">
        <pc:chgData name="DAMEJ, MERIAME" userId="6f7297a7-5d38-4d45-a12d-d4ed9accad18" providerId="ADAL" clId="{8516B747-8DC0-4252-9C24-38AF33D9839C}" dt="2024-05-22T09:11:26.069" v="96" actId="47"/>
        <pc:sldMkLst>
          <pc:docMk/>
          <pc:sldMk cId="199290819" sldId="297"/>
        </pc:sldMkLst>
      </pc:sldChg>
      <pc:sldChg chg="del">
        <pc:chgData name="DAMEJ, MERIAME" userId="6f7297a7-5d38-4d45-a12d-d4ed9accad18" providerId="ADAL" clId="{8516B747-8DC0-4252-9C24-38AF33D9839C}" dt="2024-05-22T09:11:26.291" v="103" actId="47"/>
        <pc:sldMkLst>
          <pc:docMk/>
          <pc:sldMk cId="839174587" sldId="300"/>
        </pc:sldMkLst>
      </pc:sldChg>
      <pc:sldChg chg="del">
        <pc:chgData name="DAMEJ, MERIAME" userId="6f7297a7-5d38-4d45-a12d-d4ed9accad18" providerId="ADAL" clId="{8516B747-8DC0-4252-9C24-38AF33D9839C}" dt="2024-05-22T09:11:24.132" v="79" actId="47"/>
        <pc:sldMkLst>
          <pc:docMk/>
          <pc:sldMk cId="3201242039" sldId="302"/>
        </pc:sldMkLst>
      </pc:sldChg>
      <pc:sldChg chg="del">
        <pc:chgData name="DAMEJ, MERIAME" userId="6f7297a7-5d38-4d45-a12d-d4ed9accad18" providerId="ADAL" clId="{8516B747-8DC0-4252-9C24-38AF33D9839C}" dt="2024-05-22T09:11:25.374" v="91" actId="47"/>
        <pc:sldMkLst>
          <pc:docMk/>
          <pc:sldMk cId="2670316292" sldId="304"/>
        </pc:sldMkLst>
      </pc:sldChg>
      <pc:sldChg chg="del">
        <pc:chgData name="DAMEJ, MERIAME" userId="6f7297a7-5d38-4d45-a12d-d4ed9accad18" providerId="ADAL" clId="{8516B747-8DC0-4252-9C24-38AF33D9839C}" dt="2024-05-22T09:11:26.194" v="100" actId="47"/>
        <pc:sldMkLst>
          <pc:docMk/>
          <pc:sldMk cId="299547668" sldId="306"/>
        </pc:sldMkLst>
      </pc:sldChg>
      <pc:sldChg chg="del">
        <pc:chgData name="DAMEJ, MERIAME" userId="6f7297a7-5d38-4d45-a12d-d4ed9accad18" providerId="ADAL" clId="{8516B747-8DC0-4252-9C24-38AF33D9839C}" dt="2024-05-22T09:11:26.249" v="101" actId="47"/>
        <pc:sldMkLst>
          <pc:docMk/>
          <pc:sldMk cId="1483371072" sldId="307"/>
        </pc:sldMkLst>
      </pc:sldChg>
      <pc:sldChg chg="del">
        <pc:chgData name="DAMEJ, MERIAME" userId="6f7297a7-5d38-4d45-a12d-d4ed9accad18" providerId="ADAL" clId="{8516B747-8DC0-4252-9C24-38AF33D9839C}" dt="2024-05-22T09:11:26.132" v="98" actId="47"/>
        <pc:sldMkLst>
          <pc:docMk/>
          <pc:sldMk cId="2770934613" sldId="313"/>
        </pc:sldMkLst>
      </pc:sldChg>
      <pc:sldChg chg="del">
        <pc:chgData name="DAMEJ, MERIAME" userId="6f7297a7-5d38-4d45-a12d-d4ed9accad18" providerId="ADAL" clId="{8516B747-8DC0-4252-9C24-38AF33D9839C}" dt="2024-05-22T09:11:26.271" v="102" actId="47"/>
        <pc:sldMkLst>
          <pc:docMk/>
          <pc:sldMk cId="1294635017" sldId="316"/>
        </pc:sldMkLst>
      </pc:sldChg>
      <pc:sldChg chg="del">
        <pc:chgData name="DAMEJ, MERIAME" userId="6f7297a7-5d38-4d45-a12d-d4ed9accad18" providerId="ADAL" clId="{8516B747-8DC0-4252-9C24-38AF33D9839C}" dt="2024-05-22T09:11:26.164" v="99" actId="47"/>
        <pc:sldMkLst>
          <pc:docMk/>
          <pc:sldMk cId="4170255188" sldId="317"/>
        </pc:sldMkLst>
      </pc:sldChg>
      <pc:sldChg chg="del">
        <pc:chgData name="DAMEJ, MERIAME" userId="6f7297a7-5d38-4d45-a12d-d4ed9accad18" providerId="ADAL" clId="{8516B747-8DC0-4252-9C24-38AF33D9839C}" dt="2024-05-22T09:11:24.313" v="83" actId="47"/>
        <pc:sldMkLst>
          <pc:docMk/>
          <pc:sldMk cId="3517105180" sldId="318"/>
        </pc:sldMkLst>
      </pc:sldChg>
      <pc:sldChg chg="del">
        <pc:chgData name="DAMEJ, MERIAME" userId="6f7297a7-5d38-4d45-a12d-d4ed9accad18" providerId="ADAL" clId="{8516B747-8DC0-4252-9C24-38AF33D9839C}" dt="2024-05-22T09:11:24.442" v="87" actId="47"/>
        <pc:sldMkLst>
          <pc:docMk/>
          <pc:sldMk cId="541663339" sldId="319"/>
        </pc:sldMkLst>
      </pc:sldChg>
      <pc:sldChg chg="del">
        <pc:chgData name="DAMEJ, MERIAME" userId="6f7297a7-5d38-4d45-a12d-d4ed9accad18" providerId="ADAL" clId="{8516B747-8DC0-4252-9C24-38AF33D9839C}" dt="2024-05-22T09:11:26.104" v="97" actId="47"/>
        <pc:sldMkLst>
          <pc:docMk/>
          <pc:sldMk cId="689644941" sldId="320"/>
        </pc:sldMkLst>
      </pc:sldChg>
      <pc:sldChg chg="del">
        <pc:chgData name="DAMEJ, MERIAME" userId="6f7297a7-5d38-4d45-a12d-d4ed9accad18" providerId="ADAL" clId="{8516B747-8DC0-4252-9C24-38AF33D9839C}" dt="2024-05-22T09:11:24.288" v="82" actId="47"/>
        <pc:sldMkLst>
          <pc:docMk/>
          <pc:sldMk cId="3546413873" sldId="321"/>
        </pc:sldMkLst>
      </pc:sldChg>
      <pc:sldChg chg="modSp add del mod">
        <pc:chgData name="DAMEJ, MERIAME" userId="6f7297a7-5d38-4d45-a12d-d4ed9accad18" providerId="ADAL" clId="{8516B747-8DC0-4252-9C24-38AF33D9839C}" dt="2024-05-22T09:11:56.511" v="123" actId="207"/>
        <pc:sldMkLst>
          <pc:docMk/>
          <pc:sldMk cId="3367994799" sldId="407"/>
        </pc:sldMkLst>
        <pc:spChg chg="mod">
          <ac:chgData name="DAMEJ, MERIAME" userId="6f7297a7-5d38-4d45-a12d-d4ed9accad18" providerId="ADAL" clId="{8516B747-8DC0-4252-9C24-38AF33D9839C}" dt="2024-05-22T09:11:56.511" v="123" actId="207"/>
          <ac:spMkLst>
            <pc:docMk/>
            <pc:sldMk cId="3367994799" sldId="407"/>
            <ac:spMk id="2" creationId="{A693464A-4C8A-423D-ADBD-B1151BF81CE8}"/>
          </ac:spMkLst>
        </pc:spChg>
      </pc:sldChg>
      <pc:sldChg chg="delSp modSp del mod">
        <pc:chgData name="DAMEJ, MERIAME" userId="6f7297a7-5d38-4d45-a12d-d4ed9accad18" providerId="ADAL" clId="{8516B747-8DC0-4252-9C24-38AF33D9839C}" dt="2024-05-22T09:11:23.760" v="74" actId="47"/>
        <pc:sldMkLst>
          <pc:docMk/>
          <pc:sldMk cId="674551213" sldId="408"/>
        </pc:sldMkLst>
        <pc:spChg chg="mod">
          <ac:chgData name="DAMEJ, MERIAME" userId="6f7297a7-5d38-4d45-a12d-d4ed9accad18" providerId="ADAL" clId="{8516B747-8DC0-4252-9C24-38AF33D9839C}" dt="2024-05-22T08:58:56.876" v="56" actId="1076"/>
          <ac:spMkLst>
            <pc:docMk/>
            <pc:sldMk cId="674551213" sldId="408"/>
            <ac:spMk id="2" creationId="{069314F8-F439-4F17-A6AF-475219BDB0CA}"/>
          </ac:spMkLst>
        </pc:spChg>
        <pc:spChg chg="del">
          <ac:chgData name="DAMEJ, MERIAME" userId="6f7297a7-5d38-4d45-a12d-d4ed9accad18" providerId="ADAL" clId="{8516B747-8DC0-4252-9C24-38AF33D9839C}" dt="2024-05-22T08:58:49.518" v="55" actId="478"/>
          <ac:spMkLst>
            <pc:docMk/>
            <pc:sldMk cId="674551213" sldId="408"/>
            <ac:spMk id="3" creationId="{AAB5478D-1205-4668-8117-632AD63D9506}"/>
          </ac:spMkLst>
        </pc:spChg>
      </pc:sldChg>
      <pc:sldChg chg="del">
        <pc:chgData name="DAMEJ, MERIAME" userId="6f7297a7-5d38-4d45-a12d-d4ed9accad18" providerId="ADAL" clId="{8516B747-8DC0-4252-9C24-38AF33D9839C}" dt="2024-05-22T09:11:23.279" v="73" actId="47"/>
        <pc:sldMkLst>
          <pc:docMk/>
          <pc:sldMk cId="2680812182" sldId="420"/>
        </pc:sldMkLst>
      </pc:sldChg>
      <pc:sldMasterChg chg="delSldLayout">
        <pc:chgData name="DAMEJ, MERIAME" userId="6f7297a7-5d38-4d45-a12d-d4ed9accad18" providerId="ADAL" clId="{8516B747-8DC0-4252-9C24-38AF33D9839C}" dt="2024-05-22T09:11:26.291" v="103" actId="47"/>
        <pc:sldMasterMkLst>
          <pc:docMk/>
          <pc:sldMasterMk cId="2458042863" sldId="2147483838"/>
        </pc:sldMasterMkLst>
        <pc:sldLayoutChg chg="del">
          <pc:chgData name="DAMEJ, MERIAME" userId="6f7297a7-5d38-4d45-a12d-d4ed9accad18" providerId="ADAL" clId="{8516B747-8DC0-4252-9C24-38AF33D9839C}" dt="2024-05-22T09:11:23.279" v="73" actId="47"/>
          <pc:sldLayoutMkLst>
            <pc:docMk/>
            <pc:sldMasterMk cId="2458042863" sldId="2147483838"/>
            <pc:sldLayoutMk cId="2517486245" sldId="2147483891"/>
          </pc:sldLayoutMkLst>
        </pc:sldLayoutChg>
        <pc:sldLayoutChg chg="del">
          <pc:chgData name="DAMEJ, MERIAME" userId="6f7297a7-5d38-4d45-a12d-d4ed9accad18" providerId="ADAL" clId="{8516B747-8DC0-4252-9C24-38AF33D9839C}" dt="2024-05-22T09:11:23.864" v="75" actId="47"/>
          <pc:sldLayoutMkLst>
            <pc:docMk/>
            <pc:sldMasterMk cId="2458042863" sldId="2147483838"/>
            <pc:sldLayoutMk cId="3188094713" sldId="2147483892"/>
          </pc:sldLayoutMkLst>
        </pc:sldLayoutChg>
        <pc:sldLayoutChg chg="del">
          <pc:chgData name="DAMEJ, MERIAME" userId="6f7297a7-5d38-4d45-a12d-d4ed9accad18" providerId="ADAL" clId="{8516B747-8DC0-4252-9C24-38AF33D9839C}" dt="2024-05-22T09:11:26.291" v="103" actId="47"/>
          <pc:sldLayoutMkLst>
            <pc:docMk/>
            <pc:sldMasterMk cId="2458042863" sldId="2147483838"/>
            <pc:sldLayoutMk cId="818362912" sldId="2147483893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1/05/2024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N°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1/05/2024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N°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B5F77E1-A90A-4D54-B022-9C5E9B57DFA9}"/>
              </a:ext>
            </a:extLst>
          </p:cNvPr>
          <p:cNvGrpSpPr/>
          <p:nvPr userDrawn="1"/>
        </p:nvGrpSpPr>
        <p:grpSpPr>
          <a:xfrm>
            <a:off x="0" y="-55534"/>
            <a:ext cx="13296800" cy="5428750"/>
            <a:chOff x="0" y="-55534"/>
            <a:chExt cx="12216000" cy="5173384"/>
          </a:xfrm>
        </p:grpSpPr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89968303-ACAB-46E2-9ADA-FFEAE7DD34FF}"/>
                </a:ext>
              </a:extLst>
            </p:cNvPr>
            <p:cNvSpPr/>
            <p:nvPr userDrawn="1"/>
          </p:nvSpPr>
          <p:spPr>
            <a:xfrm rot="10800000" flipH="1">
              <a:off x="0" y="-32385"/>
              <a:ext cx="5332543" cy="3858339"/>
            </a:xfrm>
            <a:custGeom>
              <a:avLst/>
              <a:gdLst>
                <a:gd name="connsiteX0" fmla="*/ 2180368 w 2314575"/>
                <a:gd name="connsiteY0" fmla="*/ 675704 h 1685925"/>
                <a:gd name="connsiteX1" fmla="*/ 7144 w 2314575"/>
                <a:gd name="connsiteY1" fmla="*/ 84011 h 1685925"/>
                <a:gd name="connsiteX2" fmla="*/ 7144 w 2314575"/>
                <a:gd name="connsiteY2" fmla="*/ 1622204 h 1685925"/>
                <a:gd name="connsiteX3" fmla="*/ 29813 w 2314575"/>
                <a:gd name="connsiteY3" fmla="*/ 1681544 h 1685925"/>
                <a:gd name="connsiteX4" fmla="*/ 2086261 w 2314575"/>
                <a:gd name="connsiteY4" fmla="*/ 1681544 h 1685925"/>
                <a:gd name="connsiteX5" fmla="*/ 2180368 w 2314575"/>
                <a:gd name="connsiteY5" fmla="*/ 675704 h 1685925"/>
                <a:gd name="connsiteX0" fmla="*/ 2173224 w 2307237"/>
                <a:gd name="connsiteY0" fmla="*/ 668561 h 1674401"/>
                <a:gd name="connsiteX1" fmla="*/ 0 w 2307237"/>
                <a:gd name="connsiteY1" fmla="*/ 76868 h 1674401"/>
                <a:gd name="connsiteX2" fmla="*/ 0 w 2307237"/>
                <a:gd name="connsiteY2" fmla="*/ 1615061 h 1674401"/>
                <a:gd name="connsiteX3" fmla="*/ 2637 w 2307237"/>
                <a:gd name="connsiteY3" fmla="*/ 1664385 h 1674401"/>
                <a:gd name="connsiteX4" fmla="*/ 2079117 w 2307237"/>
                <a:gd name="connsiteY4" fmla="*/ 1674401 h 1674401"/>
                <a:gd name="connsiteX5" fmla="*/ 2173224 w 2307237"/>
                <a:gd name="connsiteY5" fmla="*/ 668561 h 1674401"/>
                <a:gd name="connsiteX0" fmla="*/ 2173224 w 2307237"/>
                <a:gd name="connsiteY0" fmla="*/ 668561 h 1669393"/>
                <a:gd name="connsiteX1" fmla="*/ 0 w 2307237"/>
                <a:gd name="connsiteY1" fmla="*/ 76868 h 1669393"/>
                <a:gd name="connsiteX2" fmla="*/ 0 w 2307237"/>
                <a:gd name="connsiteY2" fmla="*/ 1615061 h 1669393"/>
                <a:gd name="connsiteX3" fmla="*/ 2637 w 2307237"/>
                <a:gd name="connsiteY3" fmla="*/ 1664385 h 1669393"/>
                <a:gd name="connsiteX4" fmla="*/ 2079117 w 2307237"/>
                <a:gd name="connsiteY4" fmla="*/ 1669393 h 1669393"/>
                <a:gd name="connsiteX5" fmla="*/ 2173224 w 2307237"/>
                <a:gd name="connsiteY5" fmla="*/ 668561 h 166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7237" h="1669393">
                  <a:moveTo>
                    <a:pt x="2173224" y="668561"/>
                  </a:moveTo>
                  <a:cubicBezTo>
                    <a:pt x="1677257" y="1447230"/>
                    <a:pt x="849249" y="-388999"/>
                    <a:pt x="0" y="76868"/>
                  </a:cubicBezTo>
                  <a:lnTo>
                    <a:pt x="0" y="1615061"/>
                  </a:lnTo>
                  <a:cubicBezTo>
                    <a:pt x="7906" y="1636016"/>
                    <a:pt x="-4506" y="1646002"/>
                    <a:pt x="2637" y="1664385"/>
                  </a:cubicBezTo>
                  <a:lnTo>
                    <a:pt x="2079117" y="1669393"/>
                  </a:lnTo>
                  <a:cubicBezTo>
                    <a:pt x="2267807" y="988356"/>
                    <a:pt x="2432685" y="261177"/>
                    <a:pt x="2173224" y="66856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E554DC0D-4FB0-4F98-9429-3F0318722CC7}"/>
                </a:ext>
              </a:extLst>
            </p:cNvPr>
            <p:cNvSpPr/>
            <p:nvPr/>
          </p:nvSpPr>
          <p:spPr>
            <a:xfrm rot="10800000" flipH="1">
              <a:off x="2749803" y="-55534"/>
              <a:ext cx="9466197" cy="5173384"/>
            </a:xfrm>
            <a:custGeom>
              <a:avLst/>
              <a:gdLst>
                <a:gd name="connsiteX0" fmla="*/ 4091559 w 4095750"/>
                <a:gd name="connsiteY0" fmla="*/ 2231968 h 2238375"/>
                <a:gd name="connsiteX1" fmla="*/ 1634966 w 4095750"/>
                <a:gd name="connsiteY1" fmla="*/ 17120 h 2238375"/>
                <a:gd name="connsiteX2" fmla="*/ 7144 w 4095750"/>
                <a:gd name="connsiteY2" fmla="*/ 2231968 h 2238375"/>
                <a:gd name="connsiteX3" fmla="*/ 4091559 w 4095750"/>
                <a:gd name="connsiteY3" fmla="*/ 2231968 h 2238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5750" h="2238375">
                  <a:moveTo>
                    <a:pt x="4091559" y="2231968"/>
                  </a:moveTo>
                  <a:cubicBezTo>
                    <a:pt x="3792189" y="638721"/>
                    <a:pt x="3102578" y="-88131"/>
                    <a:pt x="1634966" y="17120"/>
                  </a:cubicBezTo>
                  <a:cubicBezTo>
                    <a:pt x="986980" y="1336237"/>
                    <a:pt x="438150" y="1962030"/>
                    <a:pt x="7144" y="2231968"/>
                  </a:cubicBezTo>
                  <a:lnTo>
                    <a:pt x="4091559" y="2231968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247668" y="591671"/>
            <a:ext cx="5392948" cy="211732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343418" y="2709000"/>
            <a:ext cx="4194069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</a:t>
            </a:r>
            <a:br>
              <a:rPr lang="en-US" dirty="0"/>
            </a:br>
            <a:r>
              <a:rPr lang="en-US" dirty="0"/>
              <a:t>and dat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FB462EBA-7EE8-40CC-BC93-E402200D83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2064" y="515719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334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A7F2DC0-BF36-48D5-AAB0-DE8972532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384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3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9">
            <a:extLst>
              <a:ext uri="{FF2B5EF4-FFF2-40B4-BE49-F238E27FC236}">
                <a16:creationId xmlns:a16="http://schemas.microsoft.com/office/drawing/2014/main" id="{49E27DC5-0E94-4161-ADB3-F3B33A33AFED}"/>
              </a:ext>
            </a:extLst>
          </p:cNvPr>
          <p:cNvSpPr>
            <a:spLocks/>
          </p:cNvSpPr>
          <p:nvPr userDrawn="1"/>
        </p:nvSpPr>
        <p:spPr bwMode="auto">
          <a:xfrm rot="5400000" flipH="1">
            <a:off x="-760396" y="-2458091"/>
            <a:ext cx="9115703" cy="9516479"/>
          </a:xfrm>
          <a:custGeom>
            <a:avLst/>
            <a:gdLst>
              <a:gd name="T0" fmla="*/ 0 w 1413"/>
              <a:gd name="T1" fmla="*/ 1323 h 1473"/>
              <a:gd name="T2" fmla="*/ 1413 w 1413"/>
              <a:gd name="T3" fmla="*/ 1323 h 1473"/>
              <a:gd name="T4" fmla="*/ 1413 w 1413"/>
              <a:gd name="T5" fmla="*/ 807 h 1473"/>
              <a:gd name="T6" fmla="*/ 636 w 1413"/>
              <a:gd name="T7" fmla="*/ 1012 h 1473"/>
              <a:gd name="T8" fmla="*/ 438 w 1413"/>
              <a:gd name="T9" fmla="*/ 629 h 1473"/>
              <a:gd name="T10" fmla="*/ 449 w 1413"/>
              <a:gd name="T11" fmla="*/ 0 h 1473"/>
              <a:gd name="T12" fmla="*/ 0 w 1413"/>
              <a:gd name="T13" fmla="*/ 70 h 1473"/>
              <a:gd name="T14" fmla="*/ 0 w 1413"/>
              <a:gd name="T15" fmla="*/ 132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13" h="1473">
                <a:moveTo>
                  <a:pt x="0" y="1323"/>
                </a:moveTo>
                <a:cubicBezTo>
                  <a:pt x="1413" y="1323"/>
                  <a:pt x="1413" y="1323"/>
                  <a:pt x="1413" y="1323"/>
                </a:cubicBezTo>
                <a:cubicBezTo>
                  <a:pt x="1413" y="807"/>
                  <a:pt x="1413" y="807"/>
                  <a:pt x="1413" y="807"/>
                </a:cubicBezTo>
                <a:cubicBezTo>
                  <a:pt x="1413" y="807"/>
                  <a:pt x="1189" y="551"/>
                  <a:pt x="636" y="1012"/>
                </a:cubicBezTo>
                <a:cubicBezTo>
                  <a:pt x="84" y="1473"/>
                  <a:pt x="240" y="940"/>
                  <a:pt x="438" y="629"/>
                </a:cubicBezTo>
                <a:cubicBezTo>
                  <a:pt x="636" y="318"/>
                  <a:pt x="669" y="133"/>
                  <a:pt x="449" y="0"/>
                </a:cubicBezTo>
                <a:cubicBezTo>
                  <a:pt x="136" y="171"/>
                  <a:pt x="33" y="119"/>
                  <a:pt x="0" y="70"/>
                </a:cubicBezTo>
                <a:lnTo>
                  <a:pt x="0" y="132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st="38100" algn="tl" rotWithShape="0">
              <a:schemeClr val="tx1">
                <a:alpha val="20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57F3EC6-6AB7-49CB-8BF2-B714521A09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591944" y="2536483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1944" y="4365277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91934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64592B57-BCDC-46B2-904B-5A7FDEA22156}"/>
              </a:ext>
            </a:extLst>
          </p:cNvPr>
          <p:cNvGrpSpPr/>
          <p:nvPr userDrawn="1"/>
        </p:nvGrpSpPr>
        <p:grpSpPr>
          <a:xfrm rot="10800000">
            <a:off x="0" y="-583910"/>
            <a:ext cx="8184232" cy="7441910"/>
            <a:chOff x="3847179" y="1294078"/>
            <a:chExt cx="4118037" cy="3744526"/>
          </a:xfrm>
        </p:grpSpPr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F6855C7D-FB6F-4A0D-99F6-3523A5DB1407}"/>
                </a:ext>
              </a:extLst>
            </p:cNvPr>
            <p:cNvSpPr/>
            <p:nvPr/>
          </p:nvSpPr>
          <p:spPr>
            <a:xfrm>
              <a:off x="4193316" y="2714504"/>
              <a:ext cx="3771900" cy="2324100"/>
            </a:xfrm>
            <a:custGeom>
              <a:avLst/>
              <a:gdLst>
                <a:gd name="connsiteX0" fmla="*/ 3770471 w 3771900"/>
                <a:gd name="connsiteY0" fmla="*/ 1651908 h 2324100"/>
                <a:gd name="connsiteX1" fmla="*/ 2411540 w 3771900"/>
                <a:gd name="connsiteY1" fmla="*/ 35897 h 2324100"/>
                <a:gd name="connsiteX2" fmla="*/ 976694 w 3771900"/>
                <a:gd name="connsiteY2" fmla="*/ 559486 h 2324100"/>
                <a:gd name="connsiteX3" fmla="*/ 7144 w 3771900"/>
                <a:gd name="connsiteY3" fmla="*/ 633686 h 2324100"/>
                <a:gd name="connsiteX4" fmla="*/ 3773710 w 3771900"/>
                <a:gd name="connsiteY4" fmla="*/ 2321421 h 2324100"/>
                <a:gd name="connsiteX5" fmla="*/ 3770471 w 3771900"/>
                <a:gd name="connsiteY5" fmla="*/ 1651908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1900" h="2324100">
                  <a:moveTo>
                    <a:pt x="3770471" y="1651908"/>
                  </a:moveTo>
                  <a:cubicBezTo>
                    <a:pt x="3318605" y="1380732"/>
                    <a:pt x="2548319" y="213919"/>
                    <a:pt x="2411540" y="35897"/>
                  </a:cubicBezTo>
                  <a:cubicBezTo>
                    <a:pt x="2099405" y="-85642"/>
                    <a:pt x="1609249" y="195060"/>
                    <a:pt x="976694" y="559486"/>
                  </a:cubicBezTo>
                  <a:cubicBezTo>
                    <a:pt x="388620" y="898291"/>
                    <a:pt x="51530" y="667786"/>
                    <a:pt x="7144" y="633686"/>
                  </a:cubicBezTo>
                  <a:cubicBezTo>
                    <a:pt x="793052" y="1266241"/>
                    <a:pt x="2403253" y="1964329"/>
                    <a:pt x="3773710" y="2321421"/>
                  </a:cubicBezTo>
                  <a:cubicBezTo>
                    <a:pt x="3773805" y="2144447"/>
                    <a:pt x="3770471" y="1814881"/>
                    <a:pt x="3770471" y="1651908"/>
                  </a:cubicBez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81910F3B-3232-4E33-8A3C-C9ECA9724E12}"/>
                </a:ext>
              </a:extLst>
            </p:cNvPr>
            <p:cNvSpPr/>
            <p:nvPr/>
          </p:nvSpPr>
          <p:spPr>
            <a:xfrm>
              <a:off x="3847179" y="1294078"/>
              <a:ext cx="4114800" cy="3086100"/>
            </a:xfrm>
            <a:custGeom>
              <a:avLst/>
              <a:gdLst>
                <a:gd name="connsiteX0" fmla="*/ 4116608 w 4114800"/>
                <a:gd name="connsiteY0" fmla="*/ 7144 h 3086100"/>
                <a:gd name="connsiteX1" fmla="*/ 377379 w 4114800"/>
                <a:gd name="connsiteY1" fmla="*/ 7144 h 3086100"/>
                <a:gd name="connsiteX2" fmla="*/ 348233 w 4114800"/>
                <a:gd name="connsiteY2" fmla="*/ 2061591 h 3086100"/>
                <a:gd name="connsiteX3" fmla="*/ 353376 w 4114800"/>
                <a:gd name="connsiteY3" fmla="*/ 2065687 h 3086100"/>
                <a:gd name="connsiteX4" fmla="*/ 1322926 w 4114800"/>
                <a:gd name="connsiteY4" fmla="*/ 1991487 h 3086100"/>
                <a:gd name="connsiteX5" fmla="*/ 2757677 w 4114800"/>
                <a:gd name="connsiteY5" fmla="*/ 1467898 h 3086100"/>
                <a:gd name="connsiteX6" fmla="*/ 4116608 w 4114800"/>
                <a:gd name="connsiteY6" fmla="*/ 3083909 h 3086100"/>
                <a:gd name="connsiteX7" fmla="*/ 4116608 w 4114800"/>
                <a:gd name="connsiteY7" fmla="*/ 7144 h 308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14800" h="3086100">
                  <a:moveTo>
                    <a:pt x="4116608" y="7144"/>
                  </a:moveTo>
                  <a:lnTo>
                    <a:pt x="377379" y="7144"/>
                  </a:lnTo>
                  <a:cubicBezTo>
                    <a:pt x="377379" y="7144"/>
                    <a:pt x="-435865" y="1427893"/>
                    <a:pt x="348233" y="2061591"/>
                  </a:cubicBezTo>
                  <a:cubicBezTo>
                    <a:pt x="349852" y="2062925"/>
                    <a:pt x="351661" y="2064353"/>
                    <a:pt x="353376" y="2065687"/>
                  </a:cubicBezTo>
                  <a:cubicBezTo>
                    <a:pt x="397858" y="2099786"/>
                    <a:pt x="734852" y="2330387"/>
                    <a:pt x="1322926" y="1991487"/>
                  </a:cubicBezTo>
                  <a:cubicBezTo>
                    <a:pt x="1955481" y="1627061"/>
                    <a:pt x="2445638" y="1346359"/>
                    <a:pt x="2757677" y="1467898"/>
                  </a:cubicBezTo>
                  <a:cubicBezTo>
                    <a:pt x="2894456" y="1645920"/>
                    <a:pt x="3664838" y="2812733"/>
                    <a:pt x="4116608" y="3083909"/>
                  </a:cubicBezTo>
                  <a:cubicBezTo>
                    <a:pt x="4116608" y="2760916"/>
                    <a:pt x="4116608" y="7144"/>
                    <a:pt x="4116608" y="7144"/>
                  </a:cubicBezTo>
                </a:path>
              </a:pathLst>
            </a:custGeom>
            <a:solidFill>
              <a:srgbClr val="0075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2035" y="3502732"/>
            <a:ext cx="3558066" cy="20586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37310" y="5571206"/>
            <a:ext cx="3558066" cy="6829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 and dat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B094B5A-7617-4918-B4B1-E58924F906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5" t="25237" r="7003" b="27219"/>
          <a:stretch/>
        </p:blipFill>
        <p:spPr>
          <a:xfrm>
            <a:off x="5519936" y="724932"/>
            <a:ext cx="6120000" cy="83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475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>
            <a:extLst>
              <a:ext uri="{FF2B5EF4-FFF2-40B4-BE49-F238E27FC236}">
                <a16:creationId xmlns:a16="http://schemas.microsoft.com/office/drawing/2014/main" id="{2B612A8E-B9C0-4A33-BDF0-7B934FC0FA7B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59ABE2-EA66-4C96-A730-7AE70F160C4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0575D8E-DADC-4A93-90E1-700FFEEB747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7A0406-0F4B-4D43-9CEA-FDE61975CF1D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5ADBA43-C200-4485-A4EC-E3C6D0E787EB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3914078-BC81-4D4F-882A-303F25DADB61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4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41" r:id="rId2"/>
    <p:sldLayoutId id="2147483839" r:id="rId3"/>
    <p:sldLayoutId id="2147483890" r:id="rId4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693464A-4C8A-423D-ADBD-B1151BF81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1344" y="3140968"/>
            <a:ext cx="7560840" cy="2058654"/>
          </a:xfrm>
        </p:spPr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G</a:t>
            </a:r>
            <a:r>
              <a:rPr lang="en-US" dirty="0">
                <a:solidFill>
                  <a:srgbClr val="FFFF00"/>
                </a:solidFill>
              </a:rPr>
              <a:t>S</a:t>
            </a:r>
            <a:r>
              <a:rPr lang="en-US" dirty="0">
                <a:solidFill>
                  <a:srgbClr val="00B050"/>
                </a:solidFill>
              </a:rPr>
              <a:t>T</a:t>
            </a:r>
          </a:p>
          <a:p>
            <a:r>
              <a:rPr lang="en-US" dirty="0"/>
              <a:t>Global sourcing</a:t>
            </a:r>
          </a:p>
        </p:txBody>
      </p:sp>
    </p:spTree>
    <p:extLst>
      <p:ext uri="{BB962C8B-B14F-4D97-AF65-F5344CB8AC3E}">
        <p14:creationId xmlns:p14="http://schemas.microsoft.com/office/powerpoint/2010/main" val="3367994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options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_Capgemini-Engineering" id="{9259012E-AF39-4295-896C-7750B4E42BB7}" vid="{64718375-C5F3-44F9-B10B-E2AF1E68516B}"/>
    </a:ext>
  </a:extLst>
</a:theme>
</file>

<file path=ppt/theme/theme2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4F5CE2F5CEA946B6B391EE416611D2" ma:contentTypeVersion="20" ma:contentTypeDescription="Create a new document." ma:contentTypeScope="" ma:versionID="e66850ee8fa80968db7d73e11611017d">
  <xsd:schema xmlns:xsd="http://www.w3.org/2001/XMLSchema" xmlns:xs="http://www.w3.org/2001/XMLSchema" xmlns:p="http://schemas.microsoft.com/office/2006/metadata/properties" xmlns:ns2="b2350c62-7eb3-42b9-9bae-9a1293850a42" xmlns:ns3="b98a733e-afab-4ace-943a-7dbafac8117b" targetNamespace="http://schemas.microsoft.com/office/2006/metadata/properties" ma:root="true" ma:fieldsID="c6ffa07340212496a13a47c05f184f20" ns2:_="" ns3:_="">
    <xsd:import namespace="b2350c62-7eb3-42b9-9bae-9a1293850a42"/>
    <xsd:import namespace="b98a733e-afab-4ace-943a-7dbafac8117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350c62-7eb3-42b9-9bae-9a1293850a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8a733e-afab-4ace-943a-7dbafac8117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4c902f9e-7128-4648-a04b-a0962e902142}" ma:internalName="TaxCatchAll" ma:showField="CatchAllData" ma:web="b98a733e-afab-4ace-943a-7dbafac8117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7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2350c62-7eb3-42b9-9bae-9a1293850a42">
      <Terms xmlns="http://schemas.microsoft.com/office/infopath/2007/PartnerControls"/>
    </lcf76f155ced4ddcb4097134ff3c332f>
    <TaxCatchAll xmlns="b98a733e-afab-4ace-943a-7dbafac8117b" xsi:nil="true"/>
  </documentManagement>
</p:properties>
</file>

<file path=customXml/itemProps1.xml><?xml version="1.0" encoding="utf-8"?>
<ds:datastoreItem xmlns:ds="http://schemas.openxmlformats.org/officeDocument/2006/customXml" ds:itemID="{81E66E3A-548C-4E33-996A-02AD73AF0C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E0710AF-55D1-40E0-B0EC-BC6B48628C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2350c62-7eb3-42b9-9bae-9a1293850a42"/>
    <ds:schemaRef ds:uri="b98a733e-afab-4ace-943a-7dbafac8117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9ADD43F-92D3-47DE-90DB-D576C9390B5E}">
  <ds:schemaRefs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b2350c62-7eb3-42b9-9bae-9a1293850a42"/>
    <ds:schemaRef ds:uri="http://schemas.microsoft.com/office/2006/metadata/properties"/>
    <ds:schemaRef ds:uri="http://schemas.microsoft.com/office/2006/documentManagement/types"/>
    <ds:schemaRef ds:uri="b98a733e-afab-4ace-943a-7dbafac8117b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_Capgemini-Engineering</Template>
  <TotalTime>5500</TotalTime>
  <Words>3</Words>
  <Application>Microsoft Office PowerPoint</Application>
  <PresentationFormat>Grand écran</PresentationFormat>
  <Paragraphs>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Verdana</vt:lpstr>
      <vt:lpstr>Cover options</vt:lpstr>
      <vt:lpstr>think-cell Slide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ppt template</dc:subject>
  <dc:creator>FATIMA ZAHRA ELBENDADI (EXTERNAL)</dc:creator>
  <cp:lastModifiedBy>DAMEJ, MERIAME</cp:lastModifiedBy>
  <cp:revision>63</cp:revision>
  <dcterms:created xsi:type="dcterms:W3CDTF">2022-06-06T13:38:05Z</dcterms:created>
  <dcterms:modified xsi:type="dcterms:W3CDTF">2024-05-22T09:1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4F5CE2F5CEA946B6B391EE416611D2</vt:lpwstr>
  </property>
  <property fmtid="{D5CDD505-2E9C-101B-9397-08002B2CF9AE}" pid="3" name="MediaServiceImageTags">
    <vt:lpwstr/>
  </property>
</Properties>
</file>